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9"/>
  </p:notesMasterIdLst>
  <p:sldIdLst>
    <p:sldId id="303" r:id="rId5"/>
    <p:sldId id="262" r:id="rId6"/>
    <p:sldId id="306" r:id="rId7"/>
    <p:sldId id="257" r:id="rId8"/>
    <p:sldId id="269" r:id="rId9"/>
    <p:sldId id="287" r:id="rId10"/>
    <p:sldId id="312" r:id="rId11"/>
    <p:sldId id="311" r:id="rId12"/>
    <p:sldId id="288" r:id="rId13"/>
    <p:sldId id="259" r:id="rId14"/>
    <p:sldId id="295" r:id="rId15"/>
    <p:sldId id="305" r:id="rId16"/>
    <p:sldId id="310" r:id="rId17"/>
    <p:sldId id="308" r:id="rId18"/>
    <p:sldId id="309" r:id="rId19"/>
    <p:sldId id="260" r:id="rId20"/>
    <p:sldId id="290" r:id="rId21"/>
    <p:sldId id="261" r:id="rId22"/>
    <p:sldId id="273" r:id="rId23"/>
    <p:sldId id="291" r:id="rId24"/>
    <p:sldId id="274" r:id="rId25"/>
    <p:sldId id="300" r:id="rId26"/>
    <p:sldId id="286" r:id="rId27"/>
    <p:sldId id="292" r:id="rId28"/>
  </p:sldIdLst>
  <p:sldSz cx="9631363" cy="7223125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7" d="100"/>
          <a:sy n="107" d="100"/>
        </p:scale>
        <p:origin x="496" y="160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1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4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9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4.xml"/><Relationship Id="rId7" Type="http://schemas.openxmlformats.org/officeDocument/2006/relationships/image" Target="../media/image1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6.xml"/><Relationship Id="rId7" Type="http://schemas.openxmlformats.org/officeDocument/2006/relationships/image" Target="../media/image1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7B99BFE-D3D2-47E8-9B87-AD55C9E726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55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7D968-8986-BC43-BDA4-035998DF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Exam- Multiple Choice #21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383E11-37CF-DC48-90FE-0EFC3B2832C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84041" y="1154482"/>
            <a:ext cx="8813321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indent="0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4747455F-BB72-4044-8642-D763022A22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7600" y="1233880"/>
            <a:ext cx="7456161" cy="5281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7494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7D968-8986-BC43-BDA4-035998DF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8 Practice Exam – Multiple Choice #3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383E11-37CF-DC48-90FE-0EFC3B2832C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84041" y="1233880"/>
            <a:ext cx="8813321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indent="0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63394BE-6AE5-754A-A536-419A9FB5A2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281" y="1287646"/>
            <a:ext cx="7670800" cy="490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6167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7D968-8986-BC43-BDA4-035998DF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2 Exam – Multiple Choice #3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383E11-37CF-DC48-90FE-0EFC3B2832C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84041" y="1233880"/>
            <a:ext cx="8813321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indent="0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729AA832-FB1D-F348-9EF8-BFB950552C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4809" y="1330717"/>
            <a:ext cx="7521743" cy="4658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871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7D968-8986-BC43-BDA4-035998DF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3 Exam – Multiple Choice #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383E11-37CF-DC48-90FE-0EFC3B2832C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84041" y="1233880"/>
            <a:ext cx="8813321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indent="0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448E5A14-D4BC-5146-8CF8-97816A5F39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8528" y="1397803"/>
            <a:ext cx="7354306" cy="4694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376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17D968-8986-BC43-BDA4-035998DFF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4 Exam – Multiple Choice #30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383E11-37CF-DC48-90FE-0EFC3B2832C6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384041" y="1233880"/>
            <a:ext cx="8813321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indent="0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indent="0">
              <a:buNone/>
            </a:pPr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6" name="Picture 5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1DF37F92-6D8B-0249-B1BC-BDC9759B31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7716" y="1152801"/>
            <a:ext cx="4947911" cy="517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1377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5497C70D-F4C5-4E81-B737-2C646A033C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955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5419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2 Free Response #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DE50DA8D-B5C9-504F-B6D0-402D9BC008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9631" y="1425231"/>
            <a:ext cx="5108133" cy="5349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1580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7960140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445468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5 Form B Free Response #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/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0EB0DEFD-FB4B-D447-AD1A-F065C8B545C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31770" y="1333962"/>
            <a:ext cx="5341196" cy="5593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8273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5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61792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building confidence intervals, including for the Slope of a Regression Model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1E1E1E"/>
                </a:solidFill>
                <a:latin typeface="Roboto"/>
              </a:rPr>
              <a:t>You should be able to use a T Table or your calculator to get the critical t* value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other Inference Tests/Procedures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79941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</a:rPr>
              <a:t>2011 Free Response #5   Homework Problem Wednesday  04/01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9672F2E-820C-9342-8DA8-20D3ACF72C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9390" y="1347786"/>
            <a:ext cx="6992582" cy="545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close up of text on a white background&#10;&#10;Description automatically generated">
            <a:extLst>
              <a:ext uri="{FF2B5EF4-FFF2-40B4-BE49-F238E27FC236}">
                <a16:creationId xmlns:a16="http://schemas.microsoft.com/office/drawing/2014/main" id="{CB578EBA-77FD-064D-8E72-E959BB6F56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11718" y="1090611"/>
            <a:ext cx="6953508" cy="5787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EE6BB15D-1E3D-4D44-86CA-E0F78CA1851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591" r="19983" b="5637"/>
          <a:stretch/>
        </p:blipFill>
        <p:spPr>
          <a:xfrm>
            <a:off x="2695698" y="2171699"/>
            <a:ext cx="3669477" cy="1439863"/>
          </a:xfrm>
          <a:prstGeom prst="rect">
            <a:avLst/>
          </a:prstGeom>
        </p:spPr>
      </p:pic>
      <p:pic>
        <p:nvPicPr>
          <p:cNvPr id="5" name="Picture 4" descr="A picture containing clock, stool, table, drawing&#10;&#10;Description automatically generated">
            <a:extLst>
              <a:ext uri="{FF2B5EF4-FFF2-40B4-BE49-F238E27FC236}">
                <a16:creationId xmlns:a16="http://schemas.microsoft.com/office/drawing/2014/main" id="{13DABC2C-C81B-BA48-AAF3-C775A7E84E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5698" y="4205150"/>
            <a:ext cx="3669477" cy="107790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96B2246-F0E0-BB43-A21E-CDA888F6E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983" y="737176"/>
            <a:ext cx="8663233" cy="412715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Equations for both sample and population LSRL’s- Topic 9.2</a:t>
            </a:r>
          </a:p>
        </p:txBody>
      </p:sp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 Confidence Intervals for the Slope of a Regression Model-Topic 9.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47081"/>
            <a:ext cx="8905698" cy="53175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algn="ctr"/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algn="ctr"/>
            <a:r>
              <a:rPr lang="en-US" sz="2800" dirty="0">
                <a:solidFill>
                  <a:srgbClr val="1E1E1E"/>
                </a:solidFill>
                <a:latin typeface="Roboto"/>
              </a:rPr>
              <a:t>Degrees of freedom     df= (n-2)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1F46DB-3233-5C47-B4CC-CB117FDC06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531" y="3009077"/>
            <a:ext cx="7988300" cy="558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1C616B-6845-994E-A3DE-906DC6AB47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8572" y="3871402"/>
            <a:ext cx="3234218" cy="105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94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 Confidence Intervals for the Slope of a Regression Model-Topic 9.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47081"/>
            <a:ext cx="8905698" cy="51943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1C616B-6845-994E-A3DE-906DC6AB47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89813" y="1947600"/>
            <a:ext cx="3234218" cy="10584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755A38A-AFDE-164A-98B0-F8E0653017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89813" y="3419848"/>
            <a:ext cx="3234218" cy="3002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405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 Confidence Intervals for the Slope of a Regression Model-Topic 9.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62832" y="1591304"/>
            <a:ext cx="8905698" cy="52559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CONDITIONS TO CHECK WHEN DOING CONFIDENCE INTERVALS AND HYPOTHESIS TESTS FOR SLOPE OF A REGRESSION MODEL: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Think LINER: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L= Linear, the relationship between x and y is linear (explanatory and response variables)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I= Independent, the individual observations are independent of each other, check the 10% condition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N= Normal, for any explanatory variable x the response variable y varies according to a normal distribution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E= Equal SD’s, the standard deviation of y is the same for all the values of x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R= Random, the data comes from a random sample of the population or a randomized experiment</a:t>
            </a:r>
          </a:p>
        </p:txBody>
      </p:sp>
    </p:spTree>
    <p:extLst>
      <p:ext uri="{BB962C8B-B14F-4D97-AF65-F5344CB8AC3E}">
        <p14:creationId xmlns:p14="http://schemas.microsoft.com/office/powerpoint/2010/main" val="943616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39962"/>
            <a:ext cx="8996362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28B7F5AA-104B-4144-B813-AED1FBB941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2844" y="1419198"/>
            <a:ext cx="6309711" cy="525147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AD0987DD-E425-8040-8CB3-A33E82283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79" y="594672"/>
            <a:ext cx="5694145" cy="412715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T Table provided on AP Stats Exam</a:t>
            </a:r>
          </a:p>
        </p:txBody>
      </p:sp>
    </p:spTree>
    <p:extLst>
      <p:ext uri="{BB962C8B-B14F-4D97-AF65-F5344CB8AC3E}">
        <p14:creationId xmlns:p14="http://schemas.microsoft.com/office/powerpoint/2010/main" val="12205730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465</TotalTime>
  <Words>423</Words>
  <Application>Microsoft Macintosh PowerPoint</Application>
  <PresentationFormat>Custom</PresentationFormat>
  <Paragraphs>250</Paragraphs>
  <Slides>2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PowerPoint Presentation</vt:lpstr>
      <vt:lpstr>Equations for both sample and population LSRL’s- Topic 9.2</vt:lpstr>
      <vt:lpstr>WHAT YOU NEED TO KNOW- Confidence Intervals for the Slope of a Regression Model-Topic 9.2</vt:lpstr>
      <vt:lpstr>WHAT YOU NEED TO KNOW- Confidence Intervals for the Slope of a Regression Model-Topic 9.2</vt:lpstr>
      <vt:lpstr>WHAT YOU NEED TO KNOW- Confidence Intervals for the Slope of a Regression Model-Topic 9.2</vt:lpstr>
      <vt:lpstr>T Table provided on AP Stats Exam</vt:lpstr>
      <vt:lpstr>PowerPoint Presentation</vt:lpstr>
      <vt:lpstr>2002 Exam- Multiple Choice #21</vt:lpstr>
      <vt:lpstr>2008 Practice Exam – Multiple Choice #33</vt:lpstr>
      <vt:lpstr>2012 Exam – Multiple Choice #32</vt:lpstr>
      <vt:lpstr>2013 Exam – Multiple Choice #26</vt:lpstr>
      <vt:lpstr>2014 Exam – Multiple Choice #30</vt:lpstr>
      <vt:lpstr>PowerPoint Presentation</vt:lpstr>
      <vt:lpstr>2002 Free Response #4</vt:lpstr>
      <vt:lpstr>PowerPoint Presentation</vt:lpstr>
      <vt:lpstr>2005 Form B Free Response #5</vt:lpstr>
      <vt:lpstr>PowerPoint Presentation</vt:lpstr>
      <vt:lpstr>DEBRIEF AND SUMMARY</vt:lpstr>
      <vt:lpstr>2011 Free Response #5   Homework Problem Wednesday  04/01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84</cp:revision>
  <dcterms:created xsi:type="dcterms:W3CDTF">2019-04-30T21:25:41Z</dcterms:created>
  <dcterms:modified xsi:type="dcterms:W3CDTF">2020-04-01T12:30:38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